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4"/>
    <p:sldMasterId id="2147483688" r:id="rId5"/>
  </p:sldMasterIdLst>
  <p:notesMasterIdLst>
    <p:notesMasterId r:id="rId18"/>
  </p:notesMasterIdLst>
  <p:handoutMasterIdLst>
    <p:handoutMasterId r:id="rId19"/>
  </p:handoutMasterIdLst>
  <p:sldIdLst>
    <p:sldId id="269" r:id="rId6"/>
    <p:sldId id="257" r:id="rId7"/>
    <p:sldId id="258" r:id="rId8"/>
    <p:sldId id="259" r:id="rId9"/>
    <p:sldId id="260" r:id="rId10"/>
    <p:sldId id="261" r:id="rId11"/>
    <p:sldId id="262" r:id="rId12"/>
    <p:sldId id="263" r:id="rId13"/>
    <p:sldId id="264" r:id="rId14"/>
    <p:sldId id="265" r:id="rId15"/>
    <p:sldId id="266" r:id="rId16"/>
    <p:sldId id="267" r:id="rId17"/>
  </p:sldIdLst>
  <p:sldSz cx="9144000" cy="6858000" type="screen4x3"/>
  <p:notesSz cx="5029200" cy="7772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>
        <p:scale>
          <a:sx n="50" d="100"/>
          <a:sy n="50" d="100"/>
        </p:scale>
        <p:origin x="-996" y="-67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>
      <p:cViewPr>
        <p:scale>
          <a:sx n="60" d="100"/>
          <a:sy n="60" d="100"/>
        </p:scale>
        <p:origin x="-3084" y="-228"/>
      </p:cViewPr>
      <p:guideLst>
        <p:guide orient="horz" pos="2448"/>
        <p:guide pos="5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179638" cy="388938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2847975" y="0"/>
            <a:ext cx="2179638" cy="388938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r">
              <a:defRPr sz="1200"/>
            </a:lvl1pPr>
          </a:lstStyle>
          <a:p>
            <a:fld id="{87DE97D9-50CF-4191-97A0-23D106AB52C1}" type="datetimeFigureOut">
              <a:rPr lang="en-US" smtClean="0"/>
              <a:t>8/5/2016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7381876"/>
            <a:ext cx="2179638" cy="388938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2847975" y="7381876"/>
            <a:ext cx="2179638" cy="388938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r">
              <a:defRPr sz="1200"/>
            </a:lvl1pPr>
          </a:lstStyle>
          <a:p>
            <a:fld id="{1D2895CF-BE30-4473-AA1B-5C5935A90076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25547157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896938" y="582613"/>
            <a:ext cx="3884612" cy="29146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73145" tIns="36573" rIns="73145" bIns="36573" rtlCol="0" anchor="ctr"/>
          <a:lstStyle/>
          <a:p>
            <a:endParaRPr lang="en-I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858838" y="3670177"/>
            <a:ext cx="3941778" cy="3429025"/>
          </a:xfrm>
          <a:prstGeom prst="rect">
            <a:avLst/>
          </a:prstGeom>
        </p:spPr>
        <p:txBody>
          <a:bodyPr vert="horz" lIns="73145" tIns="36573" rIns="73145" bIns="36573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IN" dirty="0"/>
          </a:p>
        </p:txBody>
      </p:sp>
      <p:sp>
        <p:nvSpPr>
          <p:cNvPr id="10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2776540" y="7342584"/>
            <a:ext cx="2082695" cy="2143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79230" tIns="39616" rIns="79230" bIns="39616" numCol="1" anchor="ctr" anchorCtr="0" compatLnSpc="1">
            <a:prstTxWarp prst="textNoShape">
              <a:avLst/>
            </a:prstTxWarp>
          </a:bodyPr>
          <a:lstStyle>
            <a:lvl1pPr algn="r">
              <a:defRPr sz="100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smtClean="0"/>
              <a:t>Page 0-</a:t>
            </a:r>
            <a:fld id="{70C4EBEA-3960-4EF3-8101-E19980F43A07}" type="slidenum">
              <a:rPr lang="en-US" smtClean="0"/>
              <a:pPr>
                <a:defRPr/>
              </a:pPr>
              <a:t>‹#›</a:t>
            </a:fld>
            <a:r>
              <a:rPr lang="en-US" smtClean="0"/>
              <a:t> </a:t>
            </a:r>
            <a:endParaRPr lang="en-US"/>
          </a:p>
        </p:txBody>
      </p:sp>
      <p:sp>
        <p:nvSpPr>
          <p:cNvPr id="11" name="TextBox 10"/>
          <p:cNvSpPr txBox="1"/>
          <p:nvPr/>
        </p:nvSpPr>
        <p:spPr>
          <a:xfrm>
            <a:off x="157146" y="182139"/>
            <a:ext cx="4662504" cy="233894"/>
          </a:xfrm>
          <a:prstGeom prst="rect">
            <a:avLst/>
          </a:prstGeom>
          <a:noFill/>
        </p:spPr>
        <p:txBody>
          <a:bodyPr wrap="square" lIns="79230" tIns="39616" rIns="79230" bIns="39616">
            <a:spAutoFit/>
          </a:bodyPr>
          <a:lstStyle/>
          <a:p>
            <a:pPr>
              <a:defRPr/>
            </a:pPr>
            <a:r>
              <a:rPr lang="en-US" sz="1000" b="1" dirty="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Object-Oriented Programming (OOP)</a:t>
            </a:r>
          </a:p>
        </p:txBody>
      </p:sp>
      <p:sp>
        <p:nvSpPr>
          <p:cNvPr id="12" name="Line 8"/>
          <p:cNvSpPr>
            <a:spLocks noChangeShapeType="1"/>
          </p:cNvSpPr>
          <p:nvPr/>
        </p:nvSpPr>
        <p:spPr bwMode="auto">
          <a:xfrm flipH="1">
            <a:off x="671316" y="493872"/>
            <a:ext cx="43085" cy="6974944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79230" tIns="39616" rIns="79230" bIns="39616"/>
          <a:lstStyle/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9234431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0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defTabSz="914400" rtl="0" eaLnBrk="1" latinLnBrk="0" hangingPunct="1">
      <a:defRPr sz="10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defTabSz="914400" rtl="0" eaLnBrk="1" latinLnBrk="0" hangingPunct="1">
      <a:defRPr sz="10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defTabSz="914400" rtl="0" eaLnBrk="1" latinLnBrk="0" hangingPunct="1">
      <a:defRPr sz="10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defTabSz="914400" rtl="0" eaLnBrk="1" latinLnBrk="0" hangingPunct="1">
      <a:defRPr sz="10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594" name="Slide Image Placeholder 4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896938" y="582613"/>
            <a:ext cx="3884612" cy="291465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10595" name="Notes Placeholder 5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  <a:normAutofit/>
          </a:bodyPr>
          <a:lstStyle/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</p:txBody>
      </p:sp>
      <p:sp>
        <p:nvSpPr>
          <p:cNvPr id="4" name="Notes Placeholder 2"/>
          <p:cNvSpPr txBox="1">
            <a:spLocks/>
          </p:cNvSpPr>
          <p:nvPr/>
        </p:nvSpPr>
        <p:spPr>
          <a:xfrm>
            <a:off x="930424" y="3659104"/>
            <a:ext cx="3888432" cy="3611472"/>
          </a:xfrm>
          <a:prstGeom prst="rect">
            <a:avLst/>
          </a:prstGeom>
        </p:spPr>
        <p:txBody>
          <a:bodyPr vert="horz" lIns="73145" tIns="36573" rIns="73145" bIns="36573" rtlCol="0">
            <a:noAutofit/>
          </a:bodyPr>
          <a:lstStyle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Candara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200" kern="1200">
                <a:solidFill>
                  <a:schemeClr val="tx1"/>
                </a:solidFill>
                <a:latin typeface="Candara" pitchFamily="34" charset="0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200" kern="1200">
                <a:solidFill>
                  <a:schemeClr val="tx1"/>
                </a:solidFill>
                <a:latin typeface="Candara" pitchFamily="34" charset="0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200" kern="1200">
                <a:solidFill>
                  <a:schemeClr val="tx1"/>
                </a:solidFill>
                <a:latin typeface="Candara" pitchFamily="34" charset="0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200" kern="1200">
                <a:solidFill>
                  <a:schemeClr val="tx1"/>
                </a:solidFill>
                <a:latin typeface="Candar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©2016 Capgemini. All rights reserved.</a:t>
            </a:r>
            <a:b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The information contained in this document is proprietary and confidential. For Capgemini only.</a:t>
            </a: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96938" y="582613"/>
            <a:ext cx="3884612" cy="2914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Page 0-</a:t>
            </a:r>
            <a:fld id="{70C4EBEA-3960-4EF3-8101-E19980F43A07}" type="slidenum">
              <a:rPr lang="en-US" smtClean="0"/>
              <a:pPr>
                <a:defRPr/>
              </a:pPr>
              <a:t>10</a:t>
            </a:fld>
            <a:r>
              <a:rPr lang="en-US" smtClean="0"/>
              <a:t> </a:t>
            </a:r>
            <a:endParaRPr lang="en-US" dirty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96938" y="582613"/>
            <a:ext cx="3884612" cy="2914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Page 0-</a:t>
            </a:r>
            <a:fld id="{70C4EBEA-3960-4EF3-8101-E19980F43A07}" type="slidenum">
              <a:rPr lang="en-US" smtClean="0"/>
              <a:pPr>
                <a:defRPr/>
              </a:pPr>
              <a:t>11</a:t>
            </a:fld>
            <a:r>
              <a:rPr lang="en-US" smtClean="0"/>
              <a:t> </a:t>
            </a:r>
            <a:endParaRPr lang="en-US" dirty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96938" y="582613"/>
            <a:ext cx="3884612" cy="2914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Page 0-</a:t>
            </a:r>
            <a:fld id="{70C4EBEA-3960-4EF3-8101-E19980F43A07}" type="slidenum">
              <a:rPr lang="en-US" smtClean="0"/>
              <a:pPr>
                <a:defRPr/>
              </a:pPr>
              <a:t>12</a:t>
            </a:fld>
            <a:r>
              <a:rPr lang="en-US" smtClean="0"/>
              <a:t> </a:t>
            </a:r>
            <a:endParaRPr lang="en-US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96938" y="582613"/>
            <a:ext cx="3884612" cy="2914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858838" y="3886200"/>
            <a:ext cx="3941778" cy="3429025"/>
          </a:xfrm>
        </p:spPr>
        <p:txBody>
          <a:bodyPr>
            <a:normAutofit/>
          </a:bodyPr>
          <a:lstStyle/>
          <a:p>
            <a:endParaRPr lang="en-IN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Page 0-</a:t>
            </a:r>
            <a:fld id="{70C4EBEA-3960-4EF3-8101-E19980F43A07}" type="slidenum">
              <a:rPr lang="en-US" smtClean="0"/>
              <a:pPr>
                <a:defRPr/>
              </a:pPr>
              <a:t>2</a:t>
            </a:fld>
            <a:r>
              <a:rPr lang="en-US" smtClean="0"/>
              <a:t> </a:t>
            </a:r>
            <a:endParaRPr lang="en-US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96938" y="582613"/>
            <a:ext cx="3884612" cy="2914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858838" y="3886200"/>
            <a:ext cx="3941778" cy="3429025"/>
          </a:xfrm>
        </p:spPr>
        <p:txBody>
          <a:bodyPr>
            <a:normAutofit/>
          </a:bodyPr>
          <a:lstStyle/>
          <a:p>
            <a:endParaRPr lang="en-IN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Page 0-</a:t>
            </a:r>
            <a:fld id="{70C4EBEA-3960-4EF3-8101-E19980F43A07}" type="slidenum">
              <a:rPr lang="en-US" smtClean="0"/>
              <a:pPr>
                <a:defRPr/>
              </a:pPr>
              <a:t>3</a:t>
            </a:fld>
            <a:r>
              <a:rPr lang="en-US" smtClean="0"/>
              <a:t> </a:t>
            </a:r>
            <a:endParaRPr lang="en-US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96938" y="582613"/>
            <a:ext cx="3884612" cy="2914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Page 0-</a:t>
            </a:r>
            <a:fld id="{70C4EBEA-3960-4EF3-8101-E19980F43A07}" type="slidenum">
              <a:rPr lang="en-US" smtClean="0"/>
              <a:pPr>
                <a:defRPr/>
              </a:pPr>
              <a:t>4</a:t>
            </a:fld>
            <a:r>
              <a:rPr lang="en-US" smtClean="0"/>
              <a:t> </a:t>
            </a:r>
            <a:endParaRPr lang="en-US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96938" y="582613"/>
            <a:ext cx="3884612" cy="2914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Page 0-</a:t>
            </a:r>
            <a:fld id="{70C4EBEA-3960-4EF3-8101-E19980F43A07}" type="slidenum">
              <a:rPr lang="en-US" smtClean="0"/>
              <a:pPr>
                <a:defRPr/>
              </a:pPr>
              <a:t>5</a:t>
            </a:fld>
            <a:r>
              <a:rPr lang="en-US" smtClean="0"/>
              <a:t> </a:t>
            </a:r>
            <a:endParaRPr lang="en-US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96938" y="582613"/>
            <a:ext cx="3884612" cy="2914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Page 0-</a:t>
            </a:r>
            <a:fld id="{70C4EBEA-3960-4EF3-8101-E19980F43A07}" type="slidenum">
              <a:rPr lang="en-US" smtClean="0"/>
              <a:pPr>
                <a:defRPr/>
              </a:pPr>
              <a:t>6</a:t>
            </a:fld>
            <a:r>
              <a:rPr lang="en-US" smtClean="0"/>
              <a:t> </a:t>
            </a:r>
            <a:endParaRPr lang="en-US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96938" y="582613"/>
            <a:ext cx="3884612" cy="2914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Page 0-</a:t>
            </a:r>
            <a:fld id="{70C4EBEA-3960-4EF3-8101-E19980F43A07}" type="slidenum">
              <a:rPr lang="en-US" smtClean="0"/>
              <a:pPr>
                <a:defRPr/>
              </a:pPr>
              <a:t>7</a:t>
            </a:fld>
            <a:r>
              <a:rPr lang="en-US" smtClean="0"/>
              <a:t> </a:t>
            </a:r>
            <a:endParaRPr lang="en-US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96938" y="582613"/>
            <a:ext cx="3884612" cy="2914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Page 0-</a:t>
            </a:r>
            <a:fld id="{70C4EBEA-3960-4EF3-8101-E19980F43A07}" type="slidenum">
              <a:rPr lang="en-US" smtClean="0"/>
              <a:pPr>
                <a:defRPr/>
              </a:pPr>
              <a:t>8</a:t>
            </a:fld>
            <a:r>
              <a:rPr lang="en-US" smtClean="0"/>
              <a:t> </a:t>
            </a:r>
            <a:endParaRPr lang="en-US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96938" y="582613"/>
            <a:ext cx="3884612" cy="2914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Page 0-</a:t>
            </a:r>
            <a:fld id="{70C4EBEA-3960-4EF3-8101-E19980F43A07}" type="slidenum">
              <a:rPr lang="en-US" smtClean="0"/>
              <a:pPr>
                <a:defRPr/>
              </a:pPr>
              <a:t>9</a:t>
            </a:fld>
            <a:r>
              <a:rPr lang="en-US" smtClean="0"/>
              <a:t> </a:t>
            </a:r>
            <a:endParaRPr lang="en-US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13" Type="http://schemas.openxmlformats.org/officeDocument/2006/relationships/image" Target="../media/image5.emf"/><Relationship Id="rId3" Type="http://schemas.openxmlformats.org/officeDocument/2006/relationships/tags" Target="../tags/tag9.xml"/><Relationship Id="rId7" Type="http://schemas.openxmlformats.org/officeDocument/2006/relationships/tags" Target="../tags/tag13.xml"/><Relationship Id="rId12" Type="http://schemas.openxmlformats.org/officeDocument/2006/relationships/image" Target="../media/image1.emf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tags" Target="../tags/tag12.xml"/><Relationship Id="rId11" Type="http://schemas.openxmlformats.org/officeDocument/2006/relationships/oleObject" Target="../embeddings/oleObject2.bin"/><Relationship Id="rId5" Type="http://schemas.openxmlformats.org/officeDocument/2006/relationships/tags" Target="../tags/tag11.xml"/><Relationship Id="rId10" Type="http://schemas.openxmlformats.org/officeDocument/2006/relationships/image" Target="../media/image4.jpeg"/><Relationship Id="rId4" Type="http://schemas.openxmlformats.org/officeDocument/2006/relationships/tags" Target="../tags/tag10.xml"/><Relationship Id="rId9" Type="http://schemas.openxmlformats.org/officeDocument/2006/relationships/image" Target="../media/image3.jpe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2.xml"/><Relationship Id="rId7" Type="http://schemas.openxmlformats.org/officeDocument/2006/relationships/tags" Target="../tags/tag36.xml"/><Relationship Id="rId2" Type="http://schemas.openxmlformats.org/officeDocument/2006/relationships/tags" Target="../tags/tag31.xml"/><Relationship Id="rId1" Type="http://schemas.openxmlformats.org/officeDocument/2006/relationships/vmlDrawing" Target="../drawings/vmlDrawing7.vml"/><Relationship Id="rId6" Type="http://schemas.openxmlformats.org/officeDocument/2006/relationships/tags" Target="../tags/tag35.xml"/><Relationship Id="rId5" Type="http://schemas.openxmlformats.org/officeDocument/2006/relationships/tags" Target="../tags/tag34.xml"/><Relationship Id="rId10" Type="http://schemas.openxmlformats.org/officeDocument/2006/relationships/image" Target="../media/image1.emf"/><Relationship Id="rId4" Type="http://schemas.openxmlformats.org/officeDocument/2006/relationships/tags" Target="../tags/tag33.xml"/><Relationship Id="rId9" Type="http://schemas.openxmlformats.org/officeDocument/2006/relationships/oleObject" Target="../embeddings/oleObject7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2" Type="http://schemas.openxmlformats.org/officeDocument/2006/relationships/tags" Target="../tags/tag37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2.pn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2.png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1.emf"/><Relationship Id="rId2" Type="http://schemas.openxmlformats.org/officeDocument/2006/relationships/tags" Target="../tags/tag16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8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4.xml"/><Relationship Id="rId7" Type="http://schemas.openxmlformats.org/officeDocument/2006/relationships/oleObject" Target="../embeddings/oleObject5.bin"/><Relationship Id="rId2" Type="http://schemas.openxmlformats.org/officeDocument/2006/relationships/tags" Target="../tags/tag23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6.xml"/><Relationship Id="rId4" Type="http://schemas.openxmlformats.org/officeDocument/2006/relationships/tags" Target="../tags/tag25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8.xml"/><Relationship Id="rId7" Type="http://schemas.openxmlformats.org/officeDocument/2006/relationships/oleObject" Target="../embeddings/oleObject6.bin"/><Relationship Id="rId2" Type="http://schemas.openxmlformats.org/officeDocument/2006/relationships/tags" Target="../tags/tag27.xml"/><Relationship Id="rId1" Type="http://schemas.openxmlformats.org/officeDocument/2006/relationships/vmlDrawing" Target="../drawings/vmlDrawing6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0.xml"/><Relationship Id="rId4" Type="http://schemas.openxmlformats.org/officeDocument/2006/relationships/tags" Target="../tags/tag2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1" descr="shutterstock_111035876.jpg"/>
          <p:cNvPicPr>
            <a:picLocks noChangeAspect="1"/>
          </p:cNvPicPr>
          <p:nvPr userDrawn="1"/>
        </p:nvPicPr>
        <p:blipFill>
          <a:blip r:embed="rId9" cstate="print"/>
          <a:srcRect b="6147"/>
          <a:stretch>
            <a:fillRect/>
          </a:stretch>
        </p:blipFill>
        <p:spPr>
          <a:xfrm>
            <a:off x="0" y="972965"/>
            <a:ext cx="9144000" cy="5885035"/>
          </a:xfrm>
          <a:prstGeom prst="rect">
            <a:avLst/>
          </a:prstGeom>
          <a:noFill/>
          <a:ln>
            <a:noFill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144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1" y="0"/>
            <a:ext cx="9144294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0 w 10560222"/>
              <a:gd name="connsiteY0" fmla="*/ 0 h 2958168"/>
              <a:gd name="connsiteX1" fmla="*/ 10559466 w 10560222"/>
              <a:gd name="connsiteY1" fmla="*/ 0 h 2958168"/>
              <a:gd name="connsiteX2" fmla="*/ 10558968 w 10560222"/>
              <a:gd name="connsiteY2" fmla="*/ 1476338 h 2958168"/>
              <a:gd name="connsiteX3" fmla="*/ 9286405 w 10560222"/>
              <a:gd name="connsiteY3" fmla="*/ 2153103 h 2958168"/>
              <a:gd name="connsiteX4" fmla="*/ 2315369 w 10560222"/>
              <a:gd name="connsiteY4" fmla="*/ 2159512 h 2958168"/>
              <a:gd name="connsiteX5" fmla="*/ 1178700 w 10560222"/>
              <a:gd name="connsiteY5" fmla="*/ 2958168 h 2958168"/>
              <a:gd name="connsiteX6" fmla="*/ 0 w 10560222"/>
              <a:gd name="connsiteY6" fmla="*/ 2174065 h 2958168"/>
              <a:gd name="connsiteX7" fmla="*/ 0 w 10560222"/>
              <a:gd name="connsiteY7" fmla="*/ 0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0222" h="2958168">
                <a:moveTo>
                  <a:pt x="0" y="0"/>
                </a:moveTo>
                <a:lnTo>
                  <a:pt x="10559466" y="0"/>
                </a:lnTo>
                <a:cubicBezTo>
                  <a:pt x="10559979" y="67600"/>
                  <a:pt x="10560222" y="1432923"/>
                  <a:pt x="10558968" y="1476338"/>
                </a:cubicBezTo>
                <a:cubicBezTo>
                  <a:pt x="10081572" y="2148347"/>
                  <a:pt x="9702991" y="2158423"/>
                  <a:pt x="9286405" y="2153103"/>
                </a:cubicBezTo>
                <a:lnTo>
                  <a:pt x="2315369" y="2159512"/>
                </a:lnTo>
                <a:cubicBezTo>
                  <a:pt x="1738155" y="2192654"/>
                  <a:pt x="1370309" y="2495346"/>
                  <a:pt x="1178700" y="2958168"/>
                </a:cubicBezTo>
                <a:cubicBezTo>
                  <a:pt x="880346" y="2254391"/>
                  <a:pt x="278640" y="2173187"/>
                  <a:pt x="0" y="2174065"/>
                </a:cubicBezTo>
                <a:cubicBezTo>
                  <a:pt x="2067" y="2138552"/>
                  <a:pt x="1272" y="95582"/>
                  <a:pt x="0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127000" dist="25400" dir="5400000" algn="t" rotWithShape="0">
              <a:schemeClr val="tx1"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11" name="Image 10" descr="Capgemini_logo.jpg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679098" y="658705"/>
            <a:ext cx="2880360" cy="685800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9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tretch>
            <a:fillRect/>
          </a:stretch>
        </p:blipFill>
        <p:spPr bwMode="auto">
          <a:xfrm>
            <a:off x="5910040" y="6509494"/>
            <a:ext cx="2889576" cy="239889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959926"/>
            <a:ext cx="5035137" cy="1098157"/>
          </a:xfrm>
        </p:spPr>
        <p:txBody>
          <a:bodyPr lIns="720000" tIns="33059" rIns="33059" bIns="33059" anchor="t"/>
          <a:lstStyle>
            <a:lvl1pPr marL="0" indent="0" algn="l">
              <a:defRPr sz="3700" b="1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4491614" y="4949633"/>
            <a:ext cx="4652387" cy="874227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4192596162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9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2206953"/>
            <a:ext cx="4155820" cy="404199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2208394"/>
            <a:ext cx="4155820" cy="405063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290501" y="1542648"/>
            <a:ext cx="4155820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4636749" y="1533439"/>
            <a:ext cx="4155820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229175707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08791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08791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66260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766260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408791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408791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766260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4766260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15704428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784321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1791447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A099F541-44B1-4291-9F75-89FDDC8A4F89}" type="datetime1">
              <a:rPr lang="en-US" smtClean="0"/>
              <a:t>8/5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apgemini Internal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735924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8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2" descr="D:\Temlates\Capgemini_logo_pms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2280" y="5770562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1232400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1266"/>
            <a:ext cx="8229600" cy="792162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0D90015-2767-4745-8010-F000E189E86E}" type="datetime1">
              <a:rPr lang="en-US" smtClean="0"/>
              <a:t>8/5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apgemini Internal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111616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8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2" descr="D:\Temlates\Capgemini_logo_pms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2280" y="5770562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1920585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6157387-C558-4C38-AA21-85DDC0CA8D51}" type="datetime1">
              <a:rPr lang="en-US" smtClean="0"/>
              <a:t>8/5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apgemini Internal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275585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1266"/>
            <a:ext cx="8229600" cy="792162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969A02C-147B-47B1-AE3B-1D6C49BD2AE1}" type="datetime1">
              <a:rPr lang="en-US" smtClean="0"/>
              <a:t>8/5/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apgemini Internal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03308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7"/>
          <p:cNvSpPr>
            <a:spLocks/>
          </p:cNvSpPr>
          <p:nvPr userDrawn="1"/>
        </p:nvSpPr>
        <p:spPr bwMode="auto">
          <a:xfrm flipH="1">
            <a:off x="0" y="0"/>
            <a:ext cx="3675138" cy="6858000"/>
          </a:xfrm>
          <a:custGeom>
            <a:avLst/>
            <a:gdLst>
              <a:gd name="connsiteX0" fmla="*/ 2443 w 38019"/>
              <a:gd name="connsiteY0" fmla="*/ 0 h 10000"/>
              <a:gd name="connsiteX1" fmla="*/ 2443 w 38019"/>
              <a:gd name="connsiteY1" fmla="*/ 1594 h 10000"/>
              <a:gd name="connsiteX2" fmla="*/ 1145 w 38019"/>
              <a:gd name="connsiteY2" fmla="*/ 2750 h 10000"/>
              <a:gd name="connsiteX3" fmla="*/ 0 w 38019"/>
              <a:gd name="connsiteY3" fmla="*/ 3031 h 10000"/>
              <a:gd name="connsiteX4" fmla="*/ 420 w 38019"/>
              <a:gd name="connsiteY4" fmla="*/ 3124 h 10000"/>
              <a:gd name="connsiteX5" fmla="*/ 2443 w 38019"/>
              <a:gd name="connsiteY5" fmla="*/ 4538 h 10000"/>
              <a:gd name="connsiteX6" fmla="*/ 2443 w 38019"/>
              <a:gd name="connsiteY6" fmla="*/ 10000 h 10000"/>
              <a:gd name="connsiteX7" fmla="*/ 10000 w 38019"/>
              <a:gd name="connsiteY7" fmla="*/ 10000 h 10000"/>
              <a:gd name="connsiteX8" fmla="*/ 38019 w 38019"/>
              <a:gd name="connsiteY8" fmla="*/ 0 h 10000"/>
              <a:gd name="connsiteX9" fmla="*/ 2443 w 38019"/>
              <a:gd name="connsiteY9" fmla="*/ 0 h 10000"/>
              <a:gd name="connsiteX0" fmla="*/ 2443 w 38019"/>
              <a:gd name="connsiteY0" fmla="*/ 0 h 10000"/>
              <a:gd name="connsiteX1" fmla="*/ 2443 w 38019"/>
              <a:gd name="connsiteY1" fmla="*/ 1594 h 10000"/>
              <a:gd name="connsiteX2" fmla="*/ 1145 w 38019"/>
              <a:gd name="connsiteY2" fmla="*/ 2750 h 10000"/>
              <a:gd name="connsiteX3" fmla="*/ 0 w 38019"/>
              <a:gd name="connsiteY3" fmla="*/ 3031 h 10000"/>
              <a:gd name="connsiteX4" fmla="*/ 420 w 38019"/>
              <a:gd name="connsiteY4" fmla="*/ 3124 h 10000"/>
              <a:gd name="connsiteX5" fmla="*/ 2443 w 38019"/>
              <a:gd name="connsiteY5" fmla="*/ 4538 h 10000"/>
              <a:gd name="connsiteX6" fmla="*/ 2443 w 38019"/>
              <a:gd name="connsiteY6" fmla="*/ 10000 h 10000"/>
              <a:gd name="connsiteX7" fmla="*/ 38019 w 38019"/>
              <a:gd name="connsiteY7" fmla="*/ 9997 h 10000"/>
              <a:gd name="connsiteX8" fmla="*/ 38019 w 38019"/>
              <a:gd name="connsiteY8" fmla="*/ 0 h 10000"/>
              <a:gd name="connsiteX9" fmla="*/ 2443 w 38019"/>
              <a:gd name="connsiteY9" fmla="*/ 0 h 10000"/>
              <a:gd name="connsiteX0" fmla="*/ 2443 w 38019"/>
              <a:gd name="connsiteY0" fmla="*/ 14 h 10014"/>
              <a:gd name="connsiteX1" fmla="*/ 2443 w 38019"/>
              <a:gd name="connsiteY1" fmla="*/ 1608 h 10014"/>
              <a:gd name="connsiteX2" fmla="*/ 1145 w 38019"/>
              <a:gd name="connsiteY2" fmla="*/ 2764 h 10014"/>
              <a:gd name="connsiteX3" fmla="*/ 0 w 38019"/>
              <a:gd name="connsiteY3" fmla="*/ 3045 h 10014"/>
              <a:gd name="connsiteX4" fmla="*/ 420 w 38019"/>
              <a:gd name="connsiteY4" fmla="*/ 3138 h 10014"/>
              <a:gd name="connsiteX5" fmla="*/ 2443 w 38019"/>
              <a:gd name="connsiteY5" fmla="*/ 4552 h 10014"/>
              <a:gd name="connsiteX6" fmla="*/ 2443 w 38019"/>
              <a:gd name="connsiteY6" fmla="*/ 10014 h 10014"/>
              <a:gd name="connsiteX7" fmla="*/ 38019 w 38019"/>
              <a:gd name="connsiteY7" fmla="*/ 10011 h 10014"/>
              <a:gd name="connsiteX8" fmla="*/ 33103 w 38019"/>
              <a:gd name="connsiteY8" fmla="*/ 0 h 10014"/>
              <a:gd name="connsiteX9" fmla="*/ 2443 w 38019"/>
              <a:gd name="connsiteY9" fmla="*/ 14 h 10014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3103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1946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2061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28 h 10039"/>
              <a:gd name="connsiteX1" fmla="*/ 2443 w 33832"/>
              <a:gd name="connsiteY1" fmla="*/ 1622 h 10039"/>
              <a:gd name="connsiteX2" fmla="*/ 1145 w 33832"/>
              <a:gd name="connsiteY2" fmla="*/ 2778 h 10039"/>
              <a:gd name="connsiteX3" fmla="*/ 0 w 33832"/>
              <a:gd name="connsiteY3" fmla="*/ 3059 h 10039"/>
              <a:gd name="connsiteX4" fmla="*/ 420 w 33832"/>
              <a:gd name="connsiteY4" fmla="*/ 3152 h 10039"/>
              <a:gd name="connsiteX5" fmla="*/ 2443 w 33832"/>
              <a:gd name="connsiteY5" fmla="*/ 4566 h 10039"/>
              <a:gd name="connsiteX6" fmla="*/ 2443 w 33832"/>
              <a:gd name="connsiteY6" fmla="*/ 10028 h 10039"/>
              <a:gd name="connsiteX7" fmla="*/ 33832 w 33832"/>
              <a:gd name="connsiteY7" fmla="*/ 10039 h 10039"/>
              <a:gd name="connsiteX8" fmla="*/ 31946 w 33832"/>
              <a:gd name="connsiteY8" fmla="*/ 0 h 10039"/>
              <a:gd name="connsiteX9" fmla="*/ 2443 w 33832"/>
              <a:gd name="connsiteY9" fmla="*/ 28 h 10039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2061 w 33832"/>
              <a:gd name="connsiteY8" fmla="*/ 69 h 10011"/>
              <a:gd name="connsiteX9" fmla="*/ 2443 w 33832"/>
              <a:gd name="connsiteY9" fmla="*/ 0 h 10011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1946 w 33832"/>
              <a:gd name="connsiteY8" fmla="*/ 27 h 10011"/>
              <a:gd name="connsiteX9" fmla="*/ 2443 w 33832"/>
              <a:gd name="connsiteY9" fmla="*/ 0 h 10011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1946 w 33832"/>
              <a:gd name="connsiteY8" fmla="*/ 13 h 10011"/>
              <a:gd name="connsiteX9" fmla="*/ 2443 w 33832"/>
              <a:gd name="connsiteY9" fmla="*/ 0 h 10011"/>
              <a:gd name="connsiteX0" fmla="*/ 2443 w 33832"/>
              <a:gd name="connsiteY0" fmla="*/ 29 h 10040"/>
              <a:gd name="connsiteX1" fmla="*/ 2443 w 33832"/>
              <a:gd name="connsiteY1" fmla="*/ 1623 h 10040"/>
              <a:gd name="connsiteX2" fmla="*/ 1145 w 33832"/>
              <a:gd name="connsiteY2" fmla="*/ 2779 h 10040"/>
              <a:gd name="connsiteX3" fmla="*/ 0 w 33832"/>
              <a:gd name="connsiteY3" fmla="*/ 3060 h 10040"/>
              <a:gd name="connsiteX4" fmla="*/ 420 w 33832"/>
              <a:gd name="connsiteY4" fmla="*/ 3153 h 10040"/>
              <a:gd name="connsiteX5" fmla="*/ 2443 w 33832"/>
              <a:gd name="connsiteY5" fmla="*/ 4567 h 10040"/>
              <a:gd name="connsiteX6" fmla="*/ 2443 w 33832"/>
              <a:gd name="connsiteY6" fmla="*/ 10029 h 10040"/>
              <a:gd name="connsiteX7" fmla="*/ 33832 w 33832"/>
              <a:gd name="connsiteY7" fmla="*/ 10040 h 10040"/>
              <a:gd name="connsiteX8" fmla="*/ 31946 w 33832"/>
              <a:gd name="connsiteY8" fmla="*/ 0 h 10040"/>
              <a:gd name="connsiteX9" fmla="*/ 2443 w 33832"/>
              <a:gd name="connsiteY9" fmla="*/ 29 h 10040"/>
              <a:gd name="connsiteX0" fmla="*/ 2443 w 31997"/>
              <a:gd name="connsiteY0" fmla="*/ 29 h 10029"/>
              <a:gd name="connsiteX1" fmla="*/ 2443 w 31997"/>
              <a:gd name="connsiteY1" fmla="*/ 1623 h 10029"/>
              <a:gd name="connsiteX2" fmla="*/ 1145 w 31997"/>
              <a:gd name="connsiteY2" fmla="*/ 2779 h 10029"/>
              <a:gd name="connsiteX3" fmla="*/ 0 w 31997"/>
              <a:gd name="connsiteY3" fmla="*/ 3060 h 10029"/>
              <a:gd name="connsiteX4" fmla="*/ 420 w 31997"/>
              <a:gd name="connsiteY4" fmla="*/ 3153 h 10029"/>
              <a:gd name="connsiteX5" fmla="*/ 2443 w 31997"/>
              <a:gd name="connsiteY5" fmla="*/ 4567 h 10029"/>
              <a:gd name="connsiteX6" fmla="*/ 2443 w 31997"/>
              <a:gd name="connsiteY6" fmla="*/ 10029 h 10029"/>
              <a:gd name="connsiteX7" fmla="*/ 31997 w 31997"/>
              <a:gd name="connsiteY7" fmla="*/ 10026 h 10029"/>
              <a:gd name="connsiteX8" fmla="*/ 31946 w 31997"/>
              <a:gd name="connsiteY8" fmla="*/ 0 h 10029"/>
              <a:gd name="connsiteX9" fmla="*/ 2443 w 31997"/>
              <a:gd name="connsiteY9" fmla="*/ 29 h 10029"/>
              <a:gd name="connsiteX0" fmla="*/ 2443 w 31997"/>
              <a:gd name="connsiteY0" fmla="*/ 0 h 10042"/>
              <a:gd name="connsiteX1" fmla="*/ 2443 w 31997"/>
              <a:gd name="connsiteY1" fmla="*/ 1636 h 10042"/>
              <a:gd name="connsiteX2" fmla="*/ 1145 w 31997"/>
              <a:gd name="connsiteY2" fmla="*/ 2792 h 10042"/>
              <a:gd name="connsiteX3" fmla="*/ 0 w 31997"/>
              <a:gd name="connsiteY3" fmla="*/ 3073 h 10042"/>
              <a:gd name="connsiteX4" fmla="*/ 420 w 31997"/>
              <a:gd name="connsiteY4" fmla="*/ 3166 h 10042"/>
              <a:gd name="connsiteX5" fmla="*/ 2443 w 31997"/>
              <a:gd name="connsiteY5" fmla="*/ 4580 h 10042"/>
              <a:gd name="connsiteX6" fmla="*/ 2443 w 31997"/>
              <a:gd name="connsiteY6" fmla="*/ 10042 h 10042"/>
              <a:gd name="connsiteX7" fmla="*/ 31997 w 31997"/>
              <a:gd name="connsiteY7" fmla="*/ 10039 h 10042"/>
              <a:gd name="connsiteX8" fmla="*/ 31946 w 31997"/>
              <a:gd name="connsiteY8" fmla="*/ 13 h 10042"/>
              <a:gd name="connsiteX9" fmla="*/ 2443 w 31997"/>
              <a:gd name="connsiteY9" fmla="*/ 0 h 10042"/>
              <a:gd name="connsiteX0" fmla="*/ 2443 w 31997"/>
              <a:gd name="connsiteY0" fmla="*/ 0 h 10042"/>
              <a:gd name="connsiteX1" fmla="*/ 2443 w 31997"/>
              <a:gd name="connsiteY1" fmla="*/ 1636 h 10042"/>
              <a:gd name="connsiteX2" fmla="*/ 1145 w 31997"/>
              <a:gd name="connsiteY2" fmla="*/ 2792 h 10042"/>
              <a:gd name="connsiteX3" fmla="*/ 0 w 31997"/>
              <a:gd name="connsiteY3" fmla="*/ 3073 h 10042"/>
              <a:gd name="connsiteX4" fmla="*/ 420 w 31997"/>
              <a:gd name="connsiteY4" fmla="*/ 3166 h 10042"/>
              <a:gd name="connsiteX5" fmla="*/ 2443 w 31997"/>
              <a:gd name="connsiteY5" fmla="*/ 4580 h 10042"/>
              <a:gd name="connsiteX6" fmla="*/ 2443 w 31997"/>
              <a:gd name="connsiteY6" fmla="*/ 10042 h 10042"/>
              <a:gd name="connsiteX7" fmla="*/ 31997 w 31997"/>
              <a:gd name="connsiteY7" fmla="*/ 10039 h 10042"/>
              <a:gd name="connsiteX8" fmla="*/ 31997 w 31997"/>
              <a:gd name="connsiteY8" fmla="*/ 0 h 10042"/>
              <a:gd name="connsiteX9" fmla="*/ 2443 w 31997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31997 w 40083"/>
              <a:gd name="connsiteY7" fmla="*/ 10039 h 10042"/>
              <a:gd name="connsiteX8" fmla="*/ 40083 w 40083"/>
              <a:gd name="connsiteY8" fmla="*/ 0 h 10042"/>
              <a:gd name="connsiteX9" fmla="*/ 2443 w 40083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40083 w 40083"/>
              <a:gd name="connsiteY7" fmla="*/ 10042 h 10042"/>
              <a:gd name="connsiteX8" fmla="*/ 40083 w 40083"/>
              <a:gd name="connsiteY8" fmla="*/ 0 h 10042"/>
              <a:gd name="connsiteX9" fmla="*/ 2443 w 40083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40083 w 40083"/>
              <a:gd name="connsiteY7" fmla="*/ 10042 h 10042"/>
              <a:gd name="connsiteX8" fmla="*/ 24076 w 40083"/>
              <a:gd name="connsiteY8" fmla="*/ 14 h 10042"/>
              <a:gd name="connsiteX9" fmla="*/ 2443 w 40083"/>
              <a:gd name="connsiteY9" fmla="*/ 0 h 10042"/>
              <a:gd name="connsiteX0" fmla="*/ 2443 w 24076"/>
              <a:gd name="connsiteY0" fmla="*/ 0 h 10042"/>
              <a:gd name="connsiteX1" fmla="*/ 2443 w 24076"/>
              <a:gd name="connsiteY1" fmla="*/ 1636 h 10042"/>
              <a:gd name="connsiteX2" fmla="*/ 1145 w 24076"/>
              <a:gd name="connsiteY2" fmla="*/ 2792 h 10042"/>
              <a:gd name="connsiteX3" fmla="*/ 0 w 24076"/>
              <a:gd name="connsiteY3" fmla="*/ 3073 h 10042"/>
              <a:gd name="connsiteX4" fmla="*/ 420 w 24076"/>
              <a:gd name="connsiteY4" fmla="*/ 3166 h 10042"/>
              <a:gd name="connsiteX5" fmla="*/ 2443 w 24076"/>
              <a:gd name="connsiteY5" fmla="*/ 4580 h 10042"/>
              <a:gd name="connsiteX6" fmla="*/ 2443 w 24076"/>
              <a:gd name="connsiteY6" fmla="*/ 10042 h 10042"/>
              <a:gd name="connsiteX7" fmla="*/ 24076 w 24076"/>
              <a:gd name="connsiteY7" fmla="*/ 10042 h 10042"/>
              <a:gd name="connsiteX8" fmla="*/ 24076 w 24076"/>
              <a:gd name="connsiteY8" fmla="*/ 14 h 10042"/>
              <a:gd name="connsiteX9" fmla="*/ 2443 w 24076"/>
              <a:gd name="connsiteY9" fmla="*/ 0 h 100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4076" h="10042">
                <a:moveTo>
                  <a:pt x="2443" y="0"/>
                </a:moveTo>
                <a:lnTo>
                  <a:pt x="2443" y="1636"/>
                </a:lnTo>
                <a:cubicBezTo>
                  <a:pt x="2443" y="2080"/>
                  <a:pt x="2023" y="2477"/>
                  <a:pt x="1145" y="2792"/>
                </a:cubicBezTo>
                <a:cubicBezTo>
                  <a:pt x="821" y="2898"/>
                  <a:pt x="439" y="2967"/>
                  <a:pt x="0" y="3073"/>
                </a:cubicBezTo>
                <a:cubicBezTo>
                  <a:pt x="153" y="3110"/>
                  <a:pt x="286" y="3143"/>
                  <a:pt x="420" y="3166"/>
                </a:cubicBezTo>
                <a:cubicBezTo>
                  <a:pt x="1813" y="3494"/>
                  <a:pt x="2443" y="3975"/>
                  <a:pt x="2443" y="4580"/>
                </a:cubicBezTo>
                <a:lnTo>
                  <a:pt x="2443" y="10042"/>
                </a:lnTo>
                <a:lnTo>
                  <a:pt x="24076" y="10042"/>
                </a:lnTo>
                <a:lnTo>
                  <a:pt x="24076" y="14"/>
                </a:lnTo>
                <a:lnTo>
                  <a:pt x="2443" y="0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kern="1200" noProof="0">
              <a:solidFill>
                <a:schemeClr val="bg2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290147" y="962025"/>
            <a:ext cx="2883877" cy="2248140"/>
          </a:xfrm>
          <a:prstGeom prst="rect">
            <a:avLst/>
          </a:prstGeom>
        </p:spPr>
        <p:txBody>
          <a:bodyPr lIns="180000" tIns="33059" rIns="36000" bIns="33059" anchor="ctr" anchorCtr="0"/>
          <a:lstStyle>
            <a:lvl1pPr algn="l">
              <a:defRPr lang="en-US" sz="4000" b="1" kern="1200" baseline="0" noProof="0" dirty="0" smtClean="0">
                <a:solidFill>
                  <a:schemeClr val="accent5">
                    <a:lumMod val="20000"/>
                    <a:lumOff val="80000"/>
                  </a:schemeClr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 algn="l" defTabSz="839694" rtl="0" eaLnBrk="1" latinLnBrk="0" hangingPunct="1">
              <a:spcBef>
                <a:spcPct val="0"/>
              </a:spcBef>
              <a:buNone/>
            </a:pPr>
            <a:r>
              <a:rPr lang="en-US" noProof="0" dirty="0" smtClean="0"/>
              <a:t>Click here to edit master text</a:t>
            </a:r>
          </a:p>
        </p:txBody>
      </p:sp>
      <p:sp>
        <p:nvSpPr>
          <p:cNvPr id="10" name="Espace réservé du contenu 9"/>
          <p:cNvSpPr>
            <a:spLocks noGrp="1"/>
          </p:cNvSpPr>
          <p:nvPr>
            <p:ph sz="quarter" idx="10"/>
          </p:nvPr>
        </p:nvSpPr>
        <p:spPr>
          <a:xfrm>
            <a:off x="3821539" y="1512000"/>
            <a:ext cx="4851889" cy="478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8201173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B0242B1A-967D-4643-A020-3225D95DE87C}" type="datetime1">
              <a:rPr lang="en-US" smtClean="0"/>
              <a:t>8/5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apgemini Internal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52683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7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8916739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c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9376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33138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di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92524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23760" y="1828800"/>
            <a:ext cx="1828800" cy="242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47613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700978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0" y="1828800"/>
            <a:ext cx="2286000" cy="15397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91447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21756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0" y="1828800"/>
            <a:ext cx="2286000" cy="1646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48798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1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2111956"/>
            <a:ext cx="8845484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298604" y="1495447"/>
            <a:ext cx="8860286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17027545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5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1533439"/>
            <a:ext cx="4155820" cy="471550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1533440"/>
            <a:ext cx="4155820" cy="472558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37992489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1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vmlDrawing" Target="../drawings/vmlDrawing1.v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7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6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5.xml"/><Relationship Id="rId27" Type="http://schemas.openxmlformats.org/officeDocument/2006/relationships/image" Target="../media/image2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slideLayout" Target="../slideLayouts/slideLayout18.xml"/><Relationship Id="rId7" Type="http://schemas.openxmlformats.org/officeDocument/2006/relationships/image" Target="../media/image10.png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9.xml"/><Relationship Id="rId9" Type="http://schemas.openxmlformats.org/officeDocument/2006/relationships/image" Target="../media/image1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8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" name="think-cell Slide" r:id="rId25" imgW="360" imgH="360" progId="">
                  <p:embed/>
                </p:oleObj>
              </mc:Choice>
              <mc:Fallback>
                <p:oleObj name="think-cell Slide" r:id="rId2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9"/>
            </p:custDataLst>
          </p:nvPr>
        </p:nvSpPr>
        <p:spPr>
          <a:xfrm>
            <a:off x="1" y="0"/>
            <a:ext cx="9143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fr-FR" noProof="0" dirty="0" smtClean="0"/>
              <a:t>Cliquez pour modifier le style du titr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0"/>
            </p:custDataLst>
          </p:nvPr>
        </p:nvSpPr>
        <p:spPr>
          <a:xfrm>
            <a:off x="298516" y="1501977"/>
            <a:ext cx="8712115" cy="4636540"/>
          </a:xfrm>
          <a:prstGeom prst="rect">
            <a:avLst/>
          </a:prstGeom>
        </p:spPr>
        <p:txBody>
          <a:bodyPr vert="horz" lIns="10800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21"/>
            </p:custDataLst>
          </p:nvPr>
        </p:nvSpPr>
        <p:spPr>
          <a:xfrm>
            <a:off x="8827276" y="6661691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chemeClr val="tx2"/>
                </a:solidFill>
              </a:rPr>
              <a:pPr algn="ctr"/>
              <a:t>‹#›</a:t>
            </a:fld>
            <a:endParaRPr lang="en-US" sz="700" dirty="0">
              <a:solidFill>
                <a:schemeClr val="tx2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22"/>
            </p:custDataLst>
          </p:nvPr>
        </p:nvSpPr>
        <p:spPr bwMode="auto">
          <a:xfrm>
            <a:off x="2" y="676402"/>
            <a:ext cx="9143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6223228" y="6623404"/>
            <a:ext cx="2455979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marL="0" marR="0" lvl="0" indent="0" algn="r" defTabSz="995445" rtl="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600" b="0" i="0" noProof="0" dirty="0" smtClean="0">
                <a:solidFill>
                  <a:schemeClr val="tx2"/>
                </a:solidFill>
                <a:latin typeface="+mj-lt"/>
                <a:cs typeface="Helvetica Light"/>
              </a:rPr>
              <a:t>Copyright © Capgemini 2015. All Rights Reserved</a:t>
            </a:r>
          </a:p>
        </p:txBody>
      </p:sp>
      <p:cxnSp>
        <p:nvCxnSpPr>
          <p:cNvPr id="15" name="Straight Connector 5"/>
          <p:cNvCxnSpPr/>
          <p:nvPr>
            <p:custDataLst>
              <p:tags r:id="rId24"/>
            </p:custDataLst>
          </p:nvPr>
        </p:nvCxnSpPr>
        <p:spPr>
          <a:xfrm flipH="1">
            <a:off x="2" y="6362700"/>
            <a:ext cx="9143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Capgemini_logo.jpg"/>
          <p:cNvPicPr>
            <a:picLocks noChangeAspect="1"/>
          </p:cNvPicPr>
          <p:nvPr/>
        </p:nvPicPr>
        <p:blipFill>
          <a:blip r:embed="rId27" cstate="print"/>
          <a:stretch>
            <a:fillRect/>
          </a:stretch>
        </p:blipFill>
        <p:spPr>
          <a:xfrm>
            <a:off x="270463" y="6439028"/>
            <a:ext cx="1438102" cy="34497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826924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  <p:sldLayoutId id="2147483687" r:id="rId15"/>
  </p:sldLayoutIdLst>
  <p:timing>
    <p:tnLst>
      <p:par>
        <p:cTn id="1" dur="indefinite" restart="never" nodeType="tmRoot"/>
      </p:par>
    </p:tnLst>
  </p:timing>
  <p:hf sldNum="0" hdr="0" dt="0"/>
  <p:txStyles>
    <p:titleStyle>
      <a:lvl1pPr marL="0" indent="0" algn="l" defTabSz="914342" rtl="0" eaLnBrk="1" latinLnBrk="0" hangingPunct="1">
        <a:lnSpc>
          <a:spcPct val="85000"/>
        </a:lnSpc>
        <a:spcBef>
          <a:spcPct val="0"/>
        </a:spcBef>
        <a:buNone/>
        <a:defRPr sz="32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6189" indent="-166189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2200" b="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1pPr>
      <a:lvl2pPr marL="35560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8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2pPr>
      <a:lvl3pPr marL="536575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tabLst/>
        <a:defRPr sz="16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3pPr>
      <a:lvl4pPr marL="711200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tabLst/>
        <a:defRPr sz="14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0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17" name="Picture 3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12" descr="D:\Temlates\Capgemini_logo_pms.png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2280" y="5770562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3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TextBox 11"/>
          <p:cNvSpPr txBox="1">
            <a:spLocks noChangeArrowheads="1"/>
          </p:cNvSpPr>
          <p:nvPr userDrawn="1"/>
        </p:nvSpPr>
        <p:spPr bwMode="auto">
          <a:xfrm>
            <a:off x="6770688" y="5240338"/>
            <a:ext cx="1797050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r>
              <a:rPr lang="en-US" sz="900" dirty="0">
                <a:solidFill>
                  <a:schemeClr val="bg1"/>
                </a:solidFill>
                <a:latin typeface="Candara" pitchFamily="34" charset="0"/>
              </a:rPr>
              <a:t>IGATE is now a part of Capgemini</a:t>
            </a:r>
          </a:p>
        </p:txBody>
      </p:sp>
    </p:spTree>
    <p:extLst>
      <p:ext uri="{BB962C8B-B14F-4D97-AF65-F5344CB8AC3E}">
        <p14:creationId xmlns:p14="http://schemas.microsoft.com/office/powerpoint/2010/main" val="40812476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  <p:sldLayoutId id="2147483690" r:id="rId2"/>
    <p:sldLayoutId id="2147483691" r:id="rId3"/>
    <p:sldLayoutId id="2147483692" r:id="rId4"/>
    <p:sldLayoutId id="2147483693" r:id="rId5"/>
  </p:sldLayoutIdLst>
  <p:hf sldNum="0" hdr="0" ft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Candara" panose="020E0502030303020204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800" b="1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–"/>
        <a:defRPr sz="16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2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/>
        </p:nvSpPr>
        <p:spPr>
          <a:xfrm>
            <a:off x="0" y="0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13315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9"/>
          <p:cNvSpPr/>
          <p:nvPr/>
        </p:nvSpPr>
        <p:spPr>
          <a:xfrm>
            <a:off x="0" y="6310313"/>
            <a:ext cx="9144000" cy="5476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3318" name="TextBox 11"/>
          <p:cNvSpPr txBox="1">
            <a:spLocks noChangeArrowheads="1"/>
          </p:cNvSpPr>
          <p:nvPr/>
        </p:nvSpPr>
        <p:spPr bwMode="auto">
          <a:xfrm>
            <a:off x="6770688" y="5240338"/>
            <a:ext cx="1797050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r>
              <a:rPr lang="en-US" sz="900">
                <a:solidFill>
                  <a:schemeClr val="bg1"/>
                </a:solidFill>
                <a:latin typeface="Candara" pitchFamily="34" charset="0"/>
              </a:rPr>
              <a:t>IGATE is now a part of Capgemini</a:t>
            </a:r>
          </a:p>
        </p:txBody>
      </p:sp>
      <p:pic>
        <p:nvPicPr>
          <p:cNvPr id="1331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 1"/>
          <p:cNvSpPr/>
          <p:nvPr/>
        </p:nvSpPr>
        <p:spPr>
          <a:xfrm>
            <a:off x="0" y="0"/>
            <a:ext cx="9144000" cy="5413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pic>
        <p:nvPicPr>
          <p:cNvPr id="13321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8125" y="5921375"/>
            <a:ext cx="2163763" cy="501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Box 11"/>
          <p:cNvSpPr txBox="1">
            <a:spLocks noChangeArrowheads="1"/>
          </p:cNvSpPr>
          <p:nvPr/>
        </p:nvSpPr>
        <p:spPr bwMode="auto">
          <a:xfrm>
            <a:off x="0" y="1839913"/>
            <a:ext cx="9144000" cy="9456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914342" eaLnBrk="1" hangingPunct="1">
              <a:lnSpc>
                <a:spcPct val="85000"/>
              </a:lnSpc>
              <a:spcBef>
                <a:spcPct val="0"/>
              </a:spcBef>
            </a:pPr>
            <a:r>
              <a:rPr lang="en-US" sz="3700" b="1" dirty="0">
                <a:solidFill>
                  <a:schemeClr val="bg1"/>
                </a:solidFill>
                <a:ea typeface="+mj-ea"/>
              </a:rPr>
              <a:t>Object-Oriented Programming (OOP)</a:t>
            </a:r>
          </a:p>
          <a:p>
            <a:pPr eaLnBrk="1" hangingPunct="1"/>
            <a:r>
              <a:rPr lang="en-US" sz="2400" dirty="0" smtClean="0">
                <a:solidFill>
                  <a:schemeClr val="bg1"/>
                </a:solidFill>
              </a:rPr>
              <a:t>Lesson </a:t>
            </a:r>
            <a:r>
              <a:rPr lang="en-US" sz="2400" dirty="0">
                <a:solidFill>
                  <a:schemeClr val="bg1"/>
                </a:solidFill>
              </a:rPr>
              <a:t>00</a:t>
            </a:r>
            <a:r>
              <a:rPr lang="en-US" sz="2400" dirty="0" smtClean="0">
                <a:solidFill>
                  <a:schemeClr val="bg1"/>
                </a:solidFill>
              </a:rPr>
              <a:t>:</a:t>
            </a:r>
            <a:endParaRPr lang="en-US" sz="2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718569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IN" dirty="0" smtClean="0"/>
              <a:t>References</a:t>
            </a:r>
            <a:endParaRPr lang="en-IN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298516" y="1494766"/>
            <a:ext cx="6361716" cy="4643751"/>
          </a:xfrm>
        </p:spPr>
        <p:txBody>
          <a:bodyPr/>
          <a:lstStyle/>
          <a:p>
            <a:r>
              <a:rPr lang="en-US" dirty="0"/>
              <a:t>Books:</a:t>
            </a:r>
          </a:p>
          <a:p>
            <a:pPr lvl="1"/>
            <a:r>
              <a:rPr lang="en-US" dirty="0" err="1"/>
              <a:t>Sams</a:t>
            </a:r>
            <a:r>
              <a:rPr lang="en-US" dirty="0"/>
              <a:t> Teach Yourself Object Oriented Programming in 21 Days; by Anthony </a:t>
            </a:r>
            <a:r>
              <a:rPr lang="en-US" dirty="0" err="1"/>
              <a:t>Sintes</a:t>
            </a:r>
            <a:r>
              <a:rPr lang="en-US" dirty="0"/>
              <a:t> (</a:t>
            </a:r>
            <a:r>
              <a:rPr lang="en-US" dirty="0" err="1"/>
              <a:t>Sams</a:t>
            </a:r>
            <a:r>
              <a:rPr lang="en-US" dirty="0"/>
              <a:t> Publishing)</a:t>
            </a:r>
          </a:p>
          <a:p>
            <a:pPr lvl="1"/>
            <a:r>
              <a:rPr lang="en-US" dirty="0"/>
              <a:t>Object-Oriented Software Construction; by Bertrand Meyer, (Prentice-Hall)</a:t>
            </a:r>
          </a:p>
          <a:p>
            <a:pPr lvl="1"/>
            <a:r>
              <a:rPr lang="en-US" dirty="0"/>
              <a:t>The Object-Oriented Thought Process; by Matt </a:t>
            </a:r>
            <a:r>
              <a:rPr lang="en-US" dirty="0" err="1"/>
              <a:t>Weisfeld</a:t>
            </a:r>
            <a:r>
              <a:rPr lang="en-US" dirty="0"/>
              <a:t> (</a:t>
            </a:r>
            <a:r>
              <a:rPr lang="en-US" dirty="0" err="1"/>
              <a:t>Sams</a:t>
            </a:r>
            <a:r>
              <a:rPr lang="en-US" dirty="0"/>
              <a:t> Publishing)</a:t>
            </a:r>
          </a:p>
          <a:p>
            <a:endParaRPr lang="en-US" dirty="0"/>
          </a:p>
          <a:p>
            <a:endParaRPr lang="en-US" dirty="0"/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 smtClean="0"/>
              <a:t>References</a:t>
            </a:r>
            <a:endParaRPr lang="en-IN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Websites:</a:t>
            </a:r>
          </a:p>
          <a:p>
            <a:pPr lvl="1"/>
            <a:r>
              <a:rPr lang="en-US" dirty="0"/>
              <a:t>http://java.sun.com   </a:t>
            </a:r>
          </a:p>
          <a:p>
            <a:pPr lvl="1"/>
            <a:r>
              <a:rPr lang="en-US" dirty="0"/>
              <a:t>http://gd.tuwien.ac.at/languages/c/c++oop-pmueller</a:t>
            </a:r>
          </a:p>
          <a:p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apgemini Public</a:t>
            </a:r>
            <a:endParaRPr lang="en-US"/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IN" dirty="0" smtClean="0"/>
              <a:t>Next Step Courses</a:t>
            </a:r>
            <a:endParaRPr lang="en-IN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Programming with Object Oriented languages</a:t>
            </a:r>
          </a:p>
          <a:p>
            <a:endParaRPr lang="en-US" dirty="0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 smtClean="0"/>
              <a:t>Document History</a:t>
            </a:r>
            <a:endParaRPr lang="en-IN" dirty="0"/>
          </a:p>
        </p:txBody>
      </p:sp>
      <p:graphicFrame>
        <p:nvGraphicFramePr>
          <p:cNvPr id="4" name="Group 59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219725498"/>
              </p:ext>
            </p:extLst>
          </p:nvPr>
        </p:nvGraphicFramePr>
        <p:xfrm>
          <a:off x="179512" y="1196752"/>
          <a:ext cx="8784976" cy="5252432"/>
        </p:xfrm>
        <a:graphic>
          <a:graphicData uri="http://schemas.openxmlformats.org/drawingml/2006/table">
            <a:tbl>
              <a:tblPr/>
              <a:tblGrid>
                <a:gridCol w="648072"/>
                <a:gridCol w="792088"/>
                <a:gridCol w="936104"/>
                <a:gridCol w="1656184"/>
                <a:gridCol w="1080120"/>
                <a:gridCol w="936104"/>
                <a:gridCol w="2736304"/>
              </a:tblGrid>
              <a:tr h="97266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Date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ourse Version No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Software Version No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Developer / SME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Reviewer(s)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Approver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hange Record Remarks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0639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Oct-2008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0.1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NA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Shrilata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Tavargeri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ontent creation. Inputs from existing material in MS word format and corresponding ppt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3072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Nov-2008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0.2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NA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Veena Deshpande / Rashmi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Bharti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Review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8384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Dec-2008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0.3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NA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LS team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Review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6464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Jan-2009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.0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NA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Nilendra Nagwekar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Review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7584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Jul-2009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.0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NA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Shrilata Tavargeri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ontent revamp. Inputs from review team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4296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ay-2011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.1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NA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Veena Deshpande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Refinements to include contents from WBT slides and review comments of Integration Exercise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2327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Apr-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015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.2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NA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Kavita Arora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Anjulata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ahima Sharma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ade changes according to revised TOC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apgemini Public</a:t>
            </a:r>
            <a:endParaRPr lang="en-US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IN" dirty="0" smtClean="0"/>
              <a:t>Course Goals and Non Goals</a:t>
            </a:r>
            <a:endParaRPr lang="en-IN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Course Goals</a:t>
            </a:r>
          </a:p>
          <a:p>
            <a:pPr lvl="1"/>
            <a:r>
              <a:rPr lang="en-US" dirty="0"/>
              <a:t>At the end of this program, participants will gain an understanding of: </a:t>
            </a:r>
          </a:p>
          <a:p>
            <a:pPr lvl="2"/>
            <a:r>
              <a:rPr lang="en-US" dirty="0"/>
              <a:t>Principles of Object-Oriented technology	</a:t>
            </a:r>
          </a:p>
          <a:p>
            <a:pPr lvl="2"/>
            <a:r>
              <a:rPr lang="en-US" dirty="0"/>
              <a:t>Concepts and terminology associated with Object-Oriented technology </a:t>
            </a:r>
          </a:p>
          <a:p>
            <a:r>
              <a:rPr lang="en-US" dirty="0"/>
              <a:t>Course Non Goals</a:t>
            </a:r>
          </a:p>
          <a:p>
            <a:pPr lvl="1"/>
            <a:r>
              <a:rPr lang="en-US" dirty="0"/>
              <a:t>This program does not attempt: </a:t>
            </a:r>
          </a:p>
          <a:p>
            <a:pPr lvl="2"/>
            <a:r>
              <a:rPr lang="en-US" dirty="0"/>
              <a:t>To explain features of OOP using sample code, or </a:t>
            </a:r>
          </a:p>
          <a:p>
            <a:pPr lvl="2"/>
            <a:r>
              <a:rPr lang="en-US" dirty="0"/>
              <a:t>To go into technology specific details.</a:t>
            </a:r>
          </a:p>
          <a:p>
            <a:endParaRPr lang="en-US" dirty="0"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IN" dirty="0" smtClean="0"/>
              <a:t>Pre-requisites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Fair Knowledge of any programming language</a:t>
            </a:r>
          </a:p>
          <a:p>
            <a:endParaRPr lang="en-IN" dirty="0">
              <a:solidFill>
                <a:schemeClr val="tx1"/>
              </a:solidFill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IN" dirty="0" smtClean="0"/>
              <a:t>Intended Audience</a:t>
            </a:r>
            <a:endParaRPr lang="en-IN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Developers in Object-Oriented technology</a:t>
            </a:r>
          </a:p>
          <a:p>
            <a:endParaRPr lang="en-US" dirty="0"/>
          </a:p>
        </p:txBody>
      </p:sp>
      <p:pic>
        <p:nvPicPr>
          <p:cNvPr id="4" name="Picture 8" descr="tagt audiance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162800" y="1524000"/>
            <a:ext cx="1657350" cy="1295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IN" dirty="0" smtClean="0"/>
              <a:t>Day Wise Schedule</a:t>
            </a:r>
            <a:endParaRPr lang="en-IN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Day 1</a:t>
            </a:r>
          </a:p>
          <a:p>
            <a:pPr lvl="1"/>
            <a:r>
              <a:rPr lang="en-US" dirty="0"/>
              <a:t>Lesson 1: Introduction to Object-Oriented technology </a:t>
            </a:r>
          </a:p>
          <a:p>
            <a:pPr lvl="1"/>
            <a:r>
              <a:rPr lang="en-US" dirty="0"/>
              <a:t>Lesson 2: Objects and Classes</a:t>
            </a:r>
          </a:p>
          <a:p>
            <a:pPr lvl="1"/>
            <a:r>
              <a:rPr lang="en-US" dirty="0"/>
              <a:t>Lesson 3: Principles in Object-Oriented technology</a:t>
            </a:r>
          </a:p>
          <a:p>
            <a:pPr lvl="1"/>
            <a:r>
              <a:rPr lang="en-US" dirty="0"/>
              <a:t>Lesson 4: Some more concepts in OOP</a:t>
            </a:r>
          </a:p>
          <a:p>
            <a:endParaRPr lang="en-US" dirty="0"/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IN" dirty="0" smtClean="0"/>
              <a:t>Table of Contents</a:t>
            </a:r>
            <a:endParaRPr lang="en-IN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Lesson 1: Introduction to Object-Oriented Technology</a:t>
            </a:r>
          </a:p>
          <a:p>
            <a:pPr lvl="1"/>
            <a:r>
              <a:rPr lang="en-US" dirty="0"/>
              <a:t>1.1: Object Oriented concepts</a:t>
            </a:r>
          </a:p>
          <a:p>
            <a:pPr lvl="2"/>
            <a:r>
              <a:rPr lang="en-US" dirty="0"/>
              <a:t>1.1.1: What is Object-Oriented Programming? </a:t>
            </a:r>
          </a:p>
          <a:p>
            <a:pPr lvl="2"/>
            <a:r>
              <a:rPr lang="en-US" dirty="0"/>
              <a:t>1.1.2: Why Object-Oriented Programming?</a:t>
            </a:r>
          </a:p>
          <a:p>
            <a:r>
              <a:rPr lang="en-US" dirty="0"/>
              <a:t>Lesson 2: Objects and Classes </a:t>
            </a:r>
          </a:p>
          <a:p>
            <a:pPr lvl="1"/>
            <a:r>
              <a:rPr lang="en-US" dirty="0"/>
              <a:t>2.1: What is an Object? </a:t>
            </a:r>
          </a:p>
          <a:p>
            <a:r>
              <a:rPr lang="en-US" dirty="0"/>
              <a:t>(Object State, Object Behavior, Object Identity)</a:t>
            </a:r>
          </a:p>
          <a:p>
            <a:pPr lvl="1"/>
            <a:r>
              <a:rPr lang="en-US" dirty="0"/>
              <a:t>2.2: What is a Class?</a:t>
            </a:r>
          </a:p>
          <a:p>
            <a:pPr lvl="1"/>
            <a:r>
              <a:rPr lang="en-US" dirty="0"/>
              <a:t>2.2.1: Getting into Details</a:t>
            </a:r>
          </a:p>
          <a:p>
            <a:pPr lvl="2"/>
            <a:r>
              <a:rPr lang="en-US" dirty="0"/>
              <a:t>(Class Attribute and Operations, Access Modifiers, Constructors and Destructors, Attribute Types)</a:t>
            </a:r>
          </a:p>
          <a:p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apgemini Public</a:t>
            </a:r>
            <a:endParaRPr lang="en-US"/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IN" dirty="0" smtClean="0"/>
              <a:t>Table of Contents (contd.)</a:t>
            </a:r>
            <a:endParaRPr lang="en-IN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Lesson 3: Principles in Object-Oriented Technology</a:t>
            </a:r>
          </a:p>
          <a:p>
            <a:pPr lvl="1"/>
            <a:r>
              <a:rPr lang="en-US" dirty="0"/>
              <a:t>3.1: Object-Oriented Principles</a:t>
            </a:r>
          </a:p>
          <a:p>
            <a:pPr lvl="2"/>
            <a:r>
              <a:rPr lang="en-US" dirty="0"/>
              <a:t>3.1.1: Abstraction</a:t>
            </a:r>
          </a:p>
          <a:p>
            <a:pPr lvl="2"/>
            <a:r>
              <a:rPr lang="en-US" dirty="0"/>
              <a:t>3.1.2: Encapsulation</a:t>
            </a:r>
          </a:p>
          <a:p>
            <a:pPr lvl="2"/>
            <a:r>
              <a:rPr lang="en-US" dirty="0"/>
              <a:t>3.1.3: Modularity</a:t>
            </a:r>
          </a:p>
          <a:p>
            <a:pPr lvl="2"/>
            <a:r>
              <a:rPr lang="en-US" dirty="0"/>
              <a:t>3.1.4: Hierarchy</a:t>
            </a:r>
          </a:p>
          <a:p>
            <a:pPr lvl="1"/>
            <a:r>
              <a:rPr lang="en-US" dirty="0"/>
              <a:t>3.2: Polymorphism</a:t>
            </a:r>
          </a:p>
          <a:p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apgemini Public</a:t>
            </a:r>
            <a:endParaRPr lang="en-US"/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IN" dirty="0" smtClean="0"/>
              <a:t>Table of Contents (contd.)</a:t>
            </a:r>
            <a:endParaRPr lang="en-IN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Lesson 4: Some More Concepts in OOP</a:t>
            </a:r>
          </a:p>
          <a:p>
            <a:pPr lvl="1"/>
            <a:r>
              <a:rPr lang="en-US" dirty="0"/>
              <a:t>4.1: Static Members</a:t>
            </a:r>
          </a:p>
          <a:p>
            <a:pPr lvl="1"/>
            <a:r>
              <a:rPr lang="en-US" dirty="0"/>
              <a:t>4.2: Abstract Class</a:t>
            </a:r>
          </a:p>
          <a:p>
            <a:pPr lvl="1"/>
            <a:r>
              <a:rPr lang="en-US" dirty="0"/>
              <a:t>4.3: Interface</a:t>
            </a:r>
          </a:p>
          <a:p>
            <a:pPr lvl="1"/>
            <a:r>
              <a:rPr lang="en-US" dirty="0"/>
              <a:t>4.4: Packages</a:t>
            </a:r>
          </a:p>
          <a:p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apgemini Public</a:t>
            </a:r>
            <a:endParaRPr lang="en-US"/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Z9AyfU70.O66e.c9FkV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heme/theme1.xml><?xml version="1.0" encoding="utf-8"?>
<a:theme xmlns:a="http://schemas.openxmlformats.org/drawingml/2006/main" name="1_Corporate Presentation Template (4x3 - Normal)">
  <a:themeElements>
    <a:clrScheme name="Capgemini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108302FC8669F4799BB2525FF9426D3" ma:contentTypeVersion="3" ma:contentTypeDescription="Create a new document." ma:contentTypeScope="" ma:versionID="34422bef9a1e4e19cd41d03b81149be0">
  <xsd:schema xmlns:xsd="http://www.w3.org/2001/XMLSchema" xmlns:xs="http://www.w3.org/2001/XMLSchema" xmlns:p="http://schemas.microsoft.com/office/2006/metadata/properties" xmlns:ns2="2792f03d-d3b8-434f-88d1-32c1c69d1f7a" targetNamespace="http://schemas.microsoft.com/office/2006/metadata/properties" ma:root="true" ma:fieldsID="2cd4f12d8a4bde3104e9f42f8b931e06" ns2:_="">
    <xsd:import namespace="2792f03d-d3b8-434f-88d1-32c1c69d1f7a"/>
    <xsd:element name="properties">
      <xsd:complexType>
        <xsd:sequence>
          <xsd:element name="documentManagement">
            <xsd:complexType>
              <xsd:all>
                <xsd:element ref="ns2:Level"/>
                <xsd:element ref="ns2:Category"/>
                <xsd:element ref="ns2:Material_x0020_Type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792f03d-d3b8-434f-88d1-32c1c69d1f7a" elementFormDefault="qualified">
    <xsd:import namespace="http://schemas.microsoft.com/office/2006/documentManagement/types"/>
    <xsd:import namespace="http://schemas.microsoft.com/office/infopath/2007/PartnerControls"/>
    <xsd:element name="Level" ma:index="8" ma:displayName="Level" ma:format="Dropdown" ma:internalName="Level">
      <xsd:simpleType>
        <xsd:restriction base="dms:Choice">
          <xsd:enumeration value="L1"/>
          <xsd:enumeration value="L2"/>
          <xsd:enumeration value="L3"/>
          <xsd:enumeration value="L4"/>
          <xsd:enumeration value="Common"/>
        </xsd:restriction>
      </xsd:simpleType>
    </xsd:element>
    <xsd:element name="Category" ma:index="9" ma:displayName="Category" ma:default="Module Artifact" ma:format="Dropdown" ma:internalName="Category">
      <xsd:simpleType>
        <xsd:restriction base="dms:Choice">
          <xsd:enumeration value="Module Artifact"/>
          <xsd:enumeration value="Assessment Component"/>
        </xsd:restriction>
      </xsd:simpleType>
    </xsd:element>
    <xsd:element name="Material_x0020_Type" ma:index="10" ma:displayName="Material Type" ma:default="Class book" ma:format="Dropdown" ma:internalName="Material_x0020_Type">
      <xsd:simpleType>
        <xsd:restriction base="dms:Choice">
          <xsd:enumeration value="Demos"/>
          <xsd:enumeration value="Extra Example"/>
          <xsd:enumeration value="Extra Material"/>
          <xsd:enumeration value="Suggestions"/>
          <xsd:enumeration value="General"/>
          <xsd:enumeration value="Module Test Practical"/>
          <xsd:enumeration value="Module Test Theory"/>
          <xsd:enumeration value="Quiz"/>
          <xsd:enumeration value="Class book"/>
          <xsd:enumeration value="Lab book"/>
          <xsd:enumeration value="Recordings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aterial_x0020_Type xmlns="2792f03d-d3b8-434f-88d1-32c1c69d1f7a">Class book</Material_x0020_Type>
    <Category xmlns="2792f03d-d3b8-434f-88d1-32c1c69d1f7a">Module Artifact</Category>
    <Level xmlns="2792f03d-d3b8-434f-88d1-32c1c69d1f7a">L1</Level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A6D804E-8434-4435-B1E3-9B1DB692BD4B}"/>
</file>

<file path=customXml/itemProps2.xml><?xml version="1.0" encoding="utf-8"?>
<ds:datastoreItem xmlns:ds="http://schemas.openxmlformats.org/officeDocument/2006/customXml" ds:itemID="{0AFF82E3-71B7-48DD-A0D4-E526A15FF896}"/>
</file>

<file path=customXml/itemProps3.xml><?xml version="1.0" encoding="utf-8"?>
<ds:datastoreItem xmlns:ds="http://schemas.openxmlformats.org/officeDocument/2006/customXml" ds:itemID="{B04B06CB-69BB-423F-8D24-4D22A32B04A5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84</TotalTime>
  <Words>434</Words>
  <Application>Microsoft Office PowerPoint</Application>
  <PresentationFormat>On-screen Show (4:3)</PresentationFormat>
  <Paragraphs>147</Paragraphs>
  <Slides>12</Slides>
  <Notes>12</Notes>
  <HiddenSlides>0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5" baseType="lpstr">
      <vt:lpstr>1_Corporate Presentation Template (4x3 - Normal)</vt:lpstr>
      <vt:lpstr>3_Office Theme</vt:lpstr>
      <vt:lpstr>think-cell Slide</vt:lpstr>
      <vt:lpstr>PowerPoint Presentation</vt:lpstr>
      <vt:lpstr>Document History</vt:lpstr>
      <vt:lpstr>Course Goals and Non Goals</vt:lpstr>
      <vt:lpstr>Pre-requisites</vt:lpstr>
      <vt:lpstr>Intended Audience</vt:lpstr>
      <vt:lpstr>Day Wise Schedule</vt:lpstr>
      <vt:lpstr>Table of Contents</vt:lpstr>
      <vt:lpstr>Table of Contents (contd.)</vt:lpstr>
      <vt:lpstr>Table of Contents (contd.)</vt:lpstr>
      <vt:lpstr>References</vt:lpstr>
      <vt:lpstr>References</vt:lpstr>
      <vt:lpstr>Next Step Courses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bject-Oriented Programming (OOP)</dc:title>
  <dc:creator>nandesat</dc:creator>
  <cp:lastModifiedBy>Anjulata Tembhare</cp:lastModifiedBy>
  <cp:revision>21</cp:revision>
  <cp:lastPrinted>2016-07-15T06:41:49Z</cp:lastPrinted>
  <dcterms:created xsi:type="dcterms:W3CDTF">2014-05-15T07:44:14Z</dcterms:created>
  <dcterms:modified xsi:type="dcterms:W3CDTF">2016-08-05T08:40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108302FC8669F4799BB2525FF9426D3</vt:lpwstr>
  </property>
</Properties>
</file>